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23"/>
  </p:notesMasterIdLst>
  <p:sldIdLst>
    <p:sldId id="13686" r:id="rId9"/>
    <p:sldId id="3346" r:id="rId10"/>
    <p:sldId id="2145705905" r:id="rId11"/>
    <p:sldId id="2145705906" r:id="rId12"/>
    <p:sldId id="2145705908" r:id="rId13"/>
    <p:sldId id="2145705909" r:id="rId14"/>
    <p:sldId id="2145705911" r:id="rId15"/>
    <p:sldId id="2145705912" r:id="rId16"/>
    <p:sldId id="2145705913" r:id="rId17"/>
    <p:sldId id="2145705900" r:id="rId18"/>
    <p:sldId id="2145705899" r:id="rId19"/>
    <p:sldId id="2145705894" r:id="rId20"/>
    <p:sldId id="2145705907" r:id="rId21"/>
    <p:sldId id="2145705903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D55B41-E3D8-0BBB-2D08-FDBB0BA30FE5}" name="Zhen Gao" initials="ZG" userId="S::zhen.gao@biogen.com::753ca5ad-a66a-4072-86ff-fe9bc8c0233d" providerId="AD"/>
  <p188:author id="{B16D4CB7-95BA-9D22-2FFC-CED822BF181C}" name="Catherine Guardado" initials="CG" userId="S::catherine.guardado@biogen.com::65923c0c-432e-4ae4-9bdf-aa1bccb570b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3D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479DB8-093E-BD47-967D-87C1DA8CEB23}" v="58" dt="2023-04-12T18:57:50.041"/>
    <p1510:client id="{C91DCE59-457E-F241-865E-2EB552728054}" v="136" dt="2023-04-12T16:58:48.7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794"/>
    <p:restoredTop sz="96475"/>
  </p:normalViewPr>
  <p:slideViewPr>
    <p:cSldViewPr snapToGrid="0">
      <p:cViewPr varScale="1">
        <p:scale>
          <a:sx n="90" d="100"/>
          <a:sy n="90" d="100"/>
        </p:scale>
        <p:origin x="240" y="1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8/2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3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97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71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604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224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294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324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1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3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0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7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3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40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3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40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0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3.png"/><Relationship Id="rId7" Type="http://schemas.microsoft.com/office/2007/relationships/hdphoto" Target="../media/hdphoto1.wdp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6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40.png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7" Type="http://schemas.openxmlformats.org/officeDocument/2006/relationships/image" Target="../media/image3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3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4260B-9F57-4BD3-A18C-DE12DD8F2E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1B60E3-EE3D-49E2-AEB7-94027F01E7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D8690-23F0-4D41-858D-108721FB0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37C08-BA8D-4358-8F06-29AEB1D33570}" type="datetimeFigureOut">
              <a:rPr lang="en-US" smtClean="0"/>
              <a:t>8/2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7BD80-5B23-4944-95FC-08D33E209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B1144-D5C8-45AE-8A22-67AA80784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2710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8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3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0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6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4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emf"/><Relationship Id="rId4" Type="http://schemas.openxmlformats.org/officeDocument/2006/relationships/image" Target="../media/image77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5.emf"/><Relationship Id="rId4" Type="http://schemas.openxmlformats.org/officeDocument/2006/relationships/image" Target="../media/image7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4DFC884-2215-4ED4-8121-D126DBC8BF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496" y="750427"/>
            <a:ext cx="11529028" cy="1655762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US" sz="2600" b="1" dirty="0">
                <a:solidFill>
                  <a:schemeClr val="tx2"/>
                </a:solidFill>
                <a:latin typeface="Arial"/>
                <a:cs typeface="Arial"/>
              </a:rPr>
              <a:t>Off-target effects of SM HTT Splicing Enhancer (1</a:t>
            </a:r>
            <a:r>
              <a:rPr lang="en-US" sz="2600" b="1" baseline="30000" dirty="0">
                <a:solidFill>
                  <a:schemeClr val="tx2"/>
                </a:solidFill>
                <a:latin typeface="Arial"/>
                <a:cs typeface="Arial"/>
              </a:rPr>
              <a:t>st</a:t>
            </a:r>
            <a:r>
              <a:rPr lang="en-US" sz="2600" b="1" dirty="0">
                <a:solidFill>
                  <a:schemeClr val="tx2"/>
                </a:solidFill>
                <a:latin typeface="Arial"/>
                <a:cs typeface="Arial"/>
              </a:rPr>
              <a:t> &amp; 2</a:t>
            </a:r>
            <a:r>
              <a:rPr lang="en-US" sz="2600" b="1" baseline="30000" dirty="0">
                <a:solidFill>
                  <a:schemeClr val="tx2"/>
                </a:solidFill>
                <a:latin typeface="Arial"/>
                <a:cs typeface="Arial"/>
              </a:rPr>
              <a:t>nd</a:t>
            </a:r>
            <a:r>
              <a:rPr lang="en-US" sz="2600" b="1" dirty="0">
                <a:solidFill>
                  <a:schemeClr val="tx2"/>
                </a:solidFill>
                <a:latin typeface="Arial"/>
                <a:cs typeface="Arial"/>
              </a:rPr>
              <a:t> &amp; 3</a:t>
            </a:r>
            <a:r>
              <a:rPr lang="en-US" sz="2600" b="1" baseline="30000" dirty="0">
                <a:solidFill>
                  <a:schemeClr val="tx2"/>
                </a:solidFill>
                <a:latin typeface="Arial"/>
                <a:cs typeface="Arial"/>
              </a:rPr>
              <a:t>rd</a:t>
            </a:r>
            <a:r>
              <a:rPr lang="en-US" sz="2600" b="1" dirty="0">
                <a:solidFill>
                  <a:schemeClr val="tx2"/>
                </a:solidFill>
                <a:latin typeface="Arial"/>
                <a:cs typeface="Arial"/>
              </a:rPr>
              <a:t> data sets)</a:t>
            </a:r>
          </a:p>
          <a:p>
            <a:pPr algn="l"/>
            <a:endParaRPr lang="en-US" sz="2200" dirty="0">
              <a:latin typeface="Arial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326830B-AE78-69F1-E153-9DD0124806A8}"/>
              </a:ext>
            </a:extLst>
          </p:cNvPr>
          <p:cNvSpPr/>
          <p:nvPr/>
        </p:nvSpPr>
        <p:spPr>
          <a:xfrm>
            <a:off x="358172" y="5140286"/>
            <a:ext cx="66800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i="1" dirty="0">
                <a:cs typeface="Arial"/>
              </a:rPr>
              <a:t>Zhen, Dann, Catherine, Joon, Magnus, Jessica, Christin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E12CAF-5811-0CF6-118B-07CF4078AF37}"/>
              </a:ext>
            </a:extLst>
          </p:cNvPr>
          <p:cNvSpPr txBox="1"/>
          <p:nvPr/>
        </p:nvSpPr>
        <p:spPr>
          <a:xfrm>
            <a:off x="358172" y="3924273"/>
            <a:ext cx="647113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</a:rPr>
              <a:t>HTT Group Meeting</a:t>
            </a:r>
          </a:p>
          <a:p>
            <a:endParaRPr lang="en-US" dirty="0">
              <a:latin typeface="Arial" panose="020B0604020202020204" pitchFamily="34" charset="0"/>
            </a:endParaRPr>
          </a:p>
          <a:p>
            <a:r>
              <a:rPr lang="en-US" sz="1800" dirty="0">
                <a:latin typeface="Arial"/>
                <a:cs typeface="Arial"/>
              </a:rPr>
              <a:t>Apr 12,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1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144035"/>
            <a:ext cx="5338233" cy="469798"/>
          </a:xfrm>
        </p:spPr>
        <p:txBody>
          <a:bodyPr/>
          <a:lstStyle/>
          <a:p>
            <a:r>
              <a:rPr lang="en-US" sz="2800" dirty="0"/>
              <a:t>DSG and </a:t>
            </a:r>
            <a:r>
              <a:rPr lang="en-US" sz="2800" dirty="0" err="1"/>
              <a:t>dPSI</a:t>
            </a:r>
            <a:r>
              <a:rPr lang="en-US" sz="2800" dirty="0"/>
              <a:t> in </a:t>
            </a:r>
            <a:r>
              <a:rPr lang="en-US" sz="2800" dirty="0" err="1"/>
              <a:t>eoi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50727776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144035"/>
            <a:ext cx="5338233" cy="469798"/>
          </a:xfrm>
        </p:spPr>
        <p:txBody>
          <a:bodyPr/>
          <a:lstStyle/>
          <a:p>
            <a:r>
              <a:rPr lang="en-US" sz="2800" dirty="0"/>
              <a:t>DSG and </a:t>
            </a:r>
            <a:r>
              <a:rPr lang="en-US" sz="2800" dirty="0" err="1"/>
              <a:t>dPSI</a:t>
            </a:r>
            <a:r>
              <a:rPr lang="en-US" sz="2800" dirty="0"/>
              <a:t> in </a:t>
            </a:r>
            <a:r>
              <a:rPr lang="en-US" sz="2800" dirty="0" err="1"/>
              <a:t>eoi</a:t>
            </a:r>
            <a:endParaRPr lang="en-US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912F37-7DFF-E9BE-1740-42F0E08611F8}"/>
              </a:ext>
            </a:extLst>
          </p:cNvPr>
          <p:cNvSpPr txBox="1"/>
          <p:nvPr/>
        </p:nvSpPr>
        <p:spPr>
          <a:xfrm>
            <a:off x="511538" y="665278"/>
            <a:ext cx="3159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Updated </a:t>
            </a:r>
            <a:r>
              <a:rPr lang="en-US" dirty="0" err="1">
                <a:solidFill>
                  <a:srgbClr val="1A3DFF"/>
                </a:solidFill>
              </a:rPr>
              <a:t>dPSI</a:t>
            </a:r>
            <a:r>
              <a:rPr lang="en-US" dirty="0">
                <a:solidFill>
                  <a:srgbClr val="1A3DFF"/>
                </a:solidFill>
              </a:rPr>
              <a:t> from leafcut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4942786" y="665278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1A3DFF"/>
                </a:solidFill>
              </a:rPr>
              <a:t>dPSI</a:t>
            </a:r>
            <a:r>
              <a:rPr lang="en-US" dirty="0">
                <a:solidFill>
                  <a:srgbClr val="1A3DFF"/>
                </a:solidFill>
              </a:rPr>
              <a:t> from </a:t>
            </a:r>
            <a:r>
              <a:rPr lang="en-US" dirty="0" err="1">
                <a:solidFill>
                  <a:srgbClr val="1A3DFF"/>
                </a:solidFill>
              </a:rPr>
              <a:t>majiq</a:t>
            </a:r>
            <a:endParaRPr lang="en-US" dirty="0">
              <a:solidFill>
                <a:srgbClr val="1A3DFF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ABA390-BFCF-8170-9318-DDA0120F5DBE}"/>
              </a:ext>
            </a:extLst>
          </p:cNvPr>
          <p:cNvSpPr txBox="1"/>
          <p:nvPr/>
        </p:nvSpPr>
        <p:spPr>
          <a:xfrm>
            <a:off x="8520625" y="665278"/>
            <a:ext cx="267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leafcutter </a:t>
            </a:r>
            <a:r>
              <a:rPr lang="en-US" dirty="0" err="1">
                <a:solidFill>
                  <a:srgbClr val="1A3DFF"/>
                </a:solidFill>
              </a:rPr>
              <a:t>majiq</a:t>
            </a:r>
            <a:r>
              <a:rPr lang="en-US" dirty="0">
                <a:solidFill>
                  <a:srgbClr val="1A3DFF"/>
                </a:solidFill>
              </a:rPr>
              <a:t> merged</a:t>
            </a: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3D1DDA7B-D836-BB8E-C42D-F40215016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0" y="1229986"/>
            <a:ext cx="3810000" cy="3810000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BD202E0C-BC2B-EAEA-9769-DA201D7BCB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990" y="1229986"/>
            <a:ext cx="3810000" cy="3810000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65EECE1A-A51A-DFD0-9C73-56AB8DE388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020" y="1229986"/>
            <a:ext cx="3810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63222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758536" cy="218209"/>
          </a:xfrm>
        </p:spPr>
        <p:txBody>
          <a:bodyPr/>
          <a:lstStyle/>
          <a:p>
            <a:r>
              <a:rPr lang="en-US" sz="1200" dirty="0"/>
              <a:t>Venn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 descr="Diagram, venn diagram&#10;&#10;Description automatically generated">
            <a:extLst>
              <a:ext uri="{FF2B5EF4-FFF2-40B4-BE49-F238E27FC236}">
                <a16:creationId xmlns:a16="http://schemas.microsoft.com/office/drawing/2014/main" id="{A087E8F5-4899-8948-A42F-04CD7764DE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3538" y="109104"/>
            <a:ext cx="3006436" cy="3006436"/>
          </a:xfrm>
          <a:prstGeom prst="rect">
            <a:avLst/>
          </a:prstGeom>
        </p:spPr>
      </p:pic>
      <p:pic>
        <p:nvPicPr>
          <p:cNvPr id="6" name="Picture 5" descr="Diagram, venn diagram&#10;&#10;Description automatically generated">
            <a:extLst>
              <a:ext uri="{FF2B5EF4-FFF2-40B4-BE49-F238E27FC236}">
                <a16:creationId xmlns:a16="http://schemas.microsoft.com/office/drawing/2014/main" id="{EFCB65F6-25A4-3709-16B1-2A601572D7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7912" y="109104"/>
            <a:ext cx="3006437" cy="3006437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A63D0DDC-E6E7-25B5-8123-0C6C9CE8A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958" y="3191740"/>
            <a:ext cx="3006437" cy="3006437"/>
          </a:xfrm>
          <a:prstGeom prst="rect">
            <a:avLst/>
          </a:prstGeom>
        </p:spPr>
      </p:pic>
      <p:pic>
        <p:nvPicPr>
          <p:cNvPr id="11" name="Picture 10" descr="Diagram, venn diagram&#10;&#10;Description automatically generated">
            <a:extLst>
              <a:ext uri="{FF2B5EF4-FFF2-40B4-BE49-F238E27FC236}">
                <a16:creationId xmlns:a16="http://schemas.microsoft.com/office/drawing/2014/main" id="{A49EA353-0F6D-3742-3CEB-6DF2946DEA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525" y="3191740"/>
            <a:ext cx="3006438" cy="3006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0963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ADD6C8-6810-88A7-6EE2-B8CFCA4A1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37" y="1055884"/>
            <a:ext cx="2744219" cy="27442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B26E8-B8C6-C770-0B7C-B2E640D36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403" y="862214"/>
            <a:ext cx="3768001" cy="46917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D1EB4D-98BD-A20D-D0DF-216B82BC4A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851" y="711619"/>
            <a:ext cx="4546720" cy="5434761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10434218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9996556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9262873" y="591012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5962942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22925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6457764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135077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151157" y="527646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374515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6601756" y="501054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9434703" y="5276463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10567088" y="5276464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6668910" y="833031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214104" y="8330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455986" y="85176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10692843" y="3918637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238037" y="391863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9479919" y="393737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42881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Current RNAseq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keep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138117150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Across the 1</a:t>
            </a:r>
            <a:r>
              <a:rPr lang="en-US" sz="3600" baseline="300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st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2</a:t>
            </a:r>
            <a:r>
              <a:rPr lang="en-US" sz="3600" baseline="300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nd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and 3</a:t>
            </a:r>
            <a:r>
              <a:rPr lang="en-US" sz="3600" baseline="300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d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RNAseq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small compounds with fewer off-targets and similar on-target effects through continues medicinal chemistry improvement (by Magnus)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, NGN2,Sy5Y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ADD6C8-6810-88A7-6EE2-B8CFCA4A1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" y="929251"/>
            <a:ext cx="2989386" cy="29893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B26E8-B8C6-C770-0B7C-B2E640D36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403" y="862214"/>
            <a:ext cx="3768001" cy="46917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D1EB4D-98BD-A20D-D0DF-216B82BC4A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851" y="711619"/>
            <a:ext cx="4546720" cy="5434761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10434218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9996556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9262873" y="591012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5962942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22925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6457764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135077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151157" y="527646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374515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6601756" y="501054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9434703" y="5276463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10567088" y="5276464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6668910" y="833031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214104" y="8330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455986" y="85176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10692843" y="3918637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238037" y="391863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9479919" y="393737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20549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NGN2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6518645" y="5479424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4835795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4684694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796" y="757559"/>
            <a:ext cx="4632090" cy="53154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79D877-193D-6197-EBE3-F7AA65599C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84" y="975236"/>
            <a:ext cx="2927284" cy="301334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1F7A74-BA06-D51D-7C07-7FF58143F0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68" y="911162"/>
            <a:ext cx="3701862" cy="44411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4992347" y="4842122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681055" y="482715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4835796" y="4842122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8923103" y="532542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661156" y="531549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9065720" y="532542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4927414" y="7851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105933" y="716133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898526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728310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9094849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756521" y="91116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8769799" y="5967065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10512380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8931411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9024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  <p:bldP spid="6" grpId="0" animBg="1"/>
      <p:bldP spid="7" grpId="0" animBg="1"/>
      <p:bldP spid="3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FF8DE9F-D562-E8F3-95AB-6E1447DEF0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955" y="967403"/>
            <a:ext cx="4415451" cy="4815859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4253284" y="95095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916227" y="276388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317978" y="32365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607868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703817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4042138" y="562042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250824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4186130" y="4998655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849073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7081876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12612D-3CFE-89D9-F23B-E760E5F9B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07" y="2659903"/>
            <a:ext cx="3419465" cy="307648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, NGN2 and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484" y="827958"/>
            <a:ext cx="4575503" cy="52504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BA1C68-A771-80C2-876A-D919E77CFC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62" y="2240245"/>
            <a:ext cx="3559216" cy="329814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2066792" y="341936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2987834" y="34193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5443413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7186457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555299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2634522" y="3439300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9F1DD13-487E-802D-FC34-BC7E6F061819}"/>
              </a:ext>
            </a:extLst>
          </p:cNvPr>
          <p:cNvCxnSpPr>
            <a:cxnSpLocks/>
          </p:cNvCxnSpPr>
          <p:nvPr/>
        </p:nvCxnSpPr>
        <p:spPr>
          <a:xfrm flipH="1">
            <a:off x="8980396" y="25908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62143D-1841-CD00-6976-55048C9403A4}"/>
              </a:ext>
            </a:extLst>
          </p:cNvPr>
          <p:cNvCxnSpPr>
            <a:cxnSpLocks/>
          </p:cNvCxnSpPr>
          <p:nvPr/>
        </p:nvCxnSpPr>
        <p:spPr>
          <a:xfrm flipH="1">
            <a:off x="10186968" y="350438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7553E4-CFBF-AD8A-5872-15AAFFEABAA1}"/>
              </a:ext>
            </a:extLst>
          </p:cNvPr>
          <p:cNvCxnSpPr>
            <a:cxnSpLocks/>
          </p:cNvCxnSpPr>
          <p:nvPr/>
        </p:nvCxnSpPr>
        <p:spPr>
          <a:xfrm flipH="1">
            <a:off x="10530294" y="375196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2309405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2654420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1773547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5127718" y="5960046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6870299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5289330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9F20F1-8B55-5E77-0711-E79885C41D6A}"/>
              </a:ext>
            </a:extLst>
          </p:cNvPr>
          <p:cNvCxnSpPr>
            <a:cxnSpLocks/>
          </p:cNvCxnSpPr>
          <p:nvPr/>
        </p:nvCxnSpPr>
        <p:spPr>
          <a:xfrm flipV="1">
            <a:off x="10321006" y="5760177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D1F4266-EA48-101A-28D8-27D007C51ED6}"/>
              </a:ext>
            </a:extLst>
          </p:cNvPr>
          <p:cNvCxnSpPr>
            <a:cxnSpLocks/>
          </p:cNvCxnSpPr>
          <p:nvPr/>
        </p:nvCxnSpPr>
        <p:spPr>
          <a:xfrm flipV="1">
            <a:off x="9970866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6A3E55-F7F5-E645-2E5A-2AA087381DF7}"/>
              </a:ext>
            </a:extLst>
          </p:cNvPr>
          <p:cNvCxnSpPr>
            <a:cxnSpLocks/>
          </p:cNvCxnSpPr>
          <p:nvPr/>
        </p:nvCxnSpPr>
        <p:spPr>
          <a:xfrm flipV="1">
            <a:off x="8705827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2793710" y="497193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2419634" y="49760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1897127" y="4971934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5251429" y="528876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6989482" y="52788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5394046" y="528876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44E16E-A1A3-D8A7-28CE-93C22F809C2F}"/>
              </a:ext>
            </a:extLst>
          </p:cNvPr>
          <p:cNvSpPr/>
          <p:nvPr/>
        </p:nvSpPr>
        <p:spPr>
          <a:xfrm>
            <a:off x="10474309" y="5052916"/>
            <a:ext cx="134309" cy="58742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87319C-2846-905A-655B-1097D3463365}"/>
              </a:ext>
            </a:extLst>
          </p:cNvPr>
          <p:cNvSpPr/>
          <p:nvPr/>
        </p:nvSpPr>
        <p:spPr>
          <a:xfrm>
            <a:off x="8846087" y="5089626"/>
            <a:ext cx="134309" cy="587422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BBF681-E5C4-4AAB-11DE-27DD27C3076A}"/>
              </a:ext>
            </a:extLst>
          </p:cNvPr>
          <p:cNvSpPr/>
          <p:nvPr/>
        </p:nvSpPr>
        <p:spPr>
          <a:xfrm>
            <a:off x="10120734" y="5070755"/>
            <a:ext cx="134309" cy="587422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367272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PT518 induced DSG in iPSC, NGN2 and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5" name="Picture 14" descr="Diagram, venn diagram&#10;&#10;Description automatically generated">
            <a:extLst>
              <a:ext uri="{FF2B5EF4-FFF2-40B4-BE49-F238E27FC236}">
                <a16:creationId xmlns:a16="http://schemas.microsoft.com/office/drawing/2014/main" id="{B3126437-4F36-01F0-4429-C95BEC5E1E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511300"/>
            <a:ext cx="4660900" cy="46609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E248E99-D2FF-9626-A8E4-DC2613F3098D}"/>
              </a:ext>
            </a:extLst>
          </p:cNvPr>
          <p:cNvSpPr txBox="1"/>
          <p:nvPr/>
        </p:nvSpPr>
        <p:spPr>
          <a:xfrm>
            <a:off x="7132080" y="5446643"/>
            <a:ext cx="1514197" cy="64633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Sy5Y count:</a:t>
            </a:r>
          </a:p>
          <a:p>
            <a:r>
              <a:rPr lang="en-US" b="1" dirty="0">
                <a:solidFill>
                  <a:srgbClr val="00B050"/>
                </a:solidFill>
              </a:rPr>
              <a:t>2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BDAC254-956E-9C01-1493-2013F2AD3A41}"/>
              </a:ext>
            </a:extLst>
          </p:cNvPr>
          <p:cNvSpPr txBox="1"/>
          <p:nvPr/>
        </p:nvSpPr>
        <p:spPr>
          <a:xfrm>
            <a:off x="7881003" y="1738098"/>
            <a:ext cx="1595309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1A3DFF"/>
                </a:solidFill>
              </a:rPr>
              <a:t>NGN2 count:</a:t>
            </a:r>
          </a:p>
          <a:p>
            <a:r>
              <a:rPr lang="en-US" b="1" dirty="0">
                <a:solidFill>
                  <a:srgbClr val="1A3DFF"/>
                </a:solidFill>
              </a:rPr>
              <a:t>38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D0F18BC-D9E8-2901-2B1B-FE0FF2D5CA28}"/>
              </a:ext>
            </a:extLst>
          </p:cNvPr>
          <p:cNvSpPr txBox="1"/>
          <p:nvPr/>
        </p:nvSpPr>
        <p:spPr>
          <a:xfrm>
            <a:off x="1848973" y="1697310"/>
            <a:ext cx="1556836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iPSC count: </a:t>
            </a:r>
          </a:p>
          <a:p>
            <a:r>
              <a:rPr lang="en-US" b="1" dirty="0">
                <a:solidFill>
                  <a:srgbClr val="C00000"/>
                </a:solidFill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39748256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2000" dirty="0">
                <a:solidFill>
                  <a:schemeClr val="bg1"/>
                </a:solidFill>
              </a:rPr>
              <a:t>PT518 induced DSG in iPSC NGN2 and Sy5Y cells</a:t>
            </a:r>
            <a:endParaRPr lang="en-US" sz="2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3" name="Picture 2" descr="Table&#10;&#10;Description automatically generated">
            <a:extLst>
              <a:ext uri="{FF2B5EF4-FFF2-40B4-BE49-F238E27FC236}">
                <a16:creationId xmlns:a16="http://schemas.microsoft.com/office/drawing/2014/main" id="{A9EBAED1-F912-14F2-9452-FECE969C9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968" y="242887"/>
            <a:ext cx="1923149" cy="637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9984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2000" dirty="0">
                <a:solidFill>
                  <a:schemeClr val="bg1"/>
                </a:solidFill>
              </a:rPr>
              <a:t>PT518 induced DSG in iPSC NGN2 and Sy5Y cells</a:t>
            </a:r>
            <a:endParaRPr lang="en-US" sz="20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5" name="Picture 4" descr="Chart, surface chart&#10;&#10;Description automatically generated">
            <a:extLst>
              <a:ext uri="{FF2B5EF4-FFF2-40B4-BE49-F238E27FC236}">
                <a16:creationId xmlns:a16="http://schemas.microsoft.com/office/drawing/2014/main" id="{B3F63538-20AE-A113-049C-A05601035F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0" b="77188"/>
          <a:stretch/>
        </p:blipFill>
        <p:spPr>
          <a:xfrm>
            <a:off x="2209801" y="1400179"/>
            <a:ext cx="5205412" cy="1228725"/>
          </a:xfrm>
          <a:prstGeom prst="rect">
            <a:avLst/>
          </a:prstGeom>
        </p:spPr>
      </p:pic>
      <p:pic>
        <p:nvPicPr>
          <p:cNvPr id="6" name="Picture 5" descr="Chart, surface chart&#10;&#10;Description automatically generated">
            <a:extLst>
              <a:ext uri="{FF2B5EF4-FFF2-40B4-BE49-F238E27FC236}">
                <a16:creationId xmlns:a16="http://schemas.microsoft.com/office/drawing/2014/main" id="{3C52FD26-68E9-E33D-84E8-C920E569A2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918" r="3360" b="-6632"/>
          <a:stretch/>
        </p:blipFill>
        <p:spPr>
          <a:xfrm>
            <a:off x="2028827" y="7300912"/>
            <a:ext cx="5205412" cy="200023"/>
          </a:xfrm>
          <a:prstGeom prst="rect">
            <a:avLst/>
          </a:prstGeom>
        </p:spPr>
      </p:pic>
      <p:pic>
        <p:nvPicPr>
          <p:cNvPr id="7" name="Picture 6" descr="Chart, surface chart&#10;&#10;Description automatically generated">
            <a:extLst>
              <a:ext uri="{FF2B5EF4-FFF2-40B4-BE49-F238E27FC236}">
                <a16:creationId xmlns:a16="http://schemas.microsoft.com/office/drawing/2014/main" id="{51A83AF3-FEFD-17EE-E1E3-2DA06076A6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0" t="96551" r="-6720" b="-19364"/>
          <a:stretch/>
        </p:blipFill>
        <p:spPr>
          <a:xfrm>
            <a:off x="2371727" y="2886077"/>
            <a:ext cx="5386386" cy="122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0072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4791</TotalTime>
  <Words>311</Words>
  <Application>Microsoft Macintosh PowerPoint</Application>
  <PresentationFormat>Widescreen</PresentationFormat>
  <Paragraphs>85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9" baseType="lpstr">
      <vt:lpstr>System Font Regular</vt:lpstr>
      <vt:lpstr>Arial</vt:lpstr>
      <vt:lpstr>Arial Narrow</vt:lpstr>
      <vt:lpstr>Calibri</vt:lpstr>
      <vt:lpstr>Century Gothic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SG and dPSI in eoi</vt:lpstr>
      <vt:lpstr>DSG and dPSI in eoi</vt:lpstr>
      <vt:lpstr>Venn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23</cp:revision>
  <dcterms:created xsi:type="dcterms:W3CDTF">2021-06-27T14:47:41Z</dcterms:created>
  <dcterms:modified xsi:type="dcterms:W3CDTF">2023-08-23T22:47:56Z</dcterms:modified>
</cp:coreProperties>
</file>